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63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64.xml" ContentType="application/vnd.openxmlformats-officedocument.presentationml.tags+xml"/>
  <Override PartName="/ppt/notesSlides/notesSlide16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42" r:id="rId16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63.xml" Id="rId166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6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63.xml.rels>&#65279;<?xml version="1.0" encoding="utf-8"?><Relationships xmlns="http://schemas.openxmlformats.org/package/2006/relationships"><Relationship Type="http://schemas.openxmlformats.org/officeDocument/2006/relationships/slide" Target="/ppt/slides/slide163.xml" Id="rId2" /><Relationship Type="http://schemas.openxmlformats.org/officeDocument/2006/relationships/notesMaster" Target="/ppt/notesMasters/notesMaster1.xml" Id="rId1" /></Relationships>
</file>

<file path=ppt/notesSlides/notesSlide1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708503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63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64.xml" Id="rId2" /><Relationship Type="http://schemas.openxmlformats.org/officeDocument/2006/relationships/vmlDrawing" Target="/ppt/drawings/vmlDrawing167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67.bin" Id="rId5" /><Relationship Type="http://schemas.openxmlformats.org/officeDocument/2006/relationships/notesSlide" Target="/ppt/notesSlides/notesSlide163.xml" Id="rId4" /></Relationships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8441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67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able with illustrated header</a:t>
            </a:r>
          </a:p>
        </p:txBody>
      </p:sp>
      <p:sp>
        <p:nvSpPr>
          <p:cNvPr id="2" name="Freihandform: Form 5">
            <a:extLst>
              <a:ext uri="{FF2B5EF4-FFF2-40B4-BE49-F238E27FC236}">
                <a16:creationId xmlns:a16="http://schemas.microsoft.com/office/drawing/2014/main" id="{1AB33866-B486-8F19-FB6E-4D2A3AB1258C}"/>
              </a:ext>
            </a:extLst>
          </p:cNvPr>
          <p:cNvSpPr>
            <a:spLocks/>
          </p:cNvSpPr>
          <p:nvPr/>
        </p:nvSpPr>
        <p:spPr bwMode="gray">
          <a:xfrm>
            <a:off x="8706091" y="1997017"/>
            <a:ext cx="2006844" cy="1003421"/>
          </a:xfrm>
          <a:custGeom>
            <a:avLst/>
            <a:gdLst>
              <a:gd name="connsiteX0" fmla="*/ 901363 w 1802726"/>
              <a:gd name="connsiteY0" fmla="*/ 0 h 901362"/>
              <a:gd name="connsiteX1" fmla="*/ 1802726 w 1802726"/>
              <a:gd name="connsiteY1" fmla="*/ 901362 h 901362"/>
              <a:gd name="connsiteX2" fmla="*/ 0 w 1802726"/>
              <a:gd name="connsiteY2" fmla="*/ 901362 h 901362"/>
              <a:gd name="connsiteX3" fmla="*/ 901363 w 1802726"/>
              <a:gd name="connsiteY3" fmla="*/ 0 h 901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2726" h="901362">
                <a:moveTo>
                  <a:pt x="901363" y="0"/>
                </a:moveTo>
                <a:cubicBezTo>
                  <a:pt x="1399172" y="0"/>
                  <a:pt x="1802726" y="403554"/>
                  <a:pt x="1802726" y="901362"/>
                </a:cubicBezTo>
                <a:lnTo>
                  <a:pt x="0" y="901362"/>
                </a:lnTo>
                <a:cubicBezTo>
                  <a:pt x="0" y="403554"/>
                  <a:pt x="403554" y="0"/>
                  <a:pt x="901363" y="0"/>
                </a:cubicBezTo>
                <a:close/>
              </a:path>
            </a:pathLst>
          </a:custGeom>
          <a:solidFill>
            <a:schemeClr val="bg1"/>
          </a:solidFill>
          <a:ln w="6350" cap="rnd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117667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" name="Freihandform: Form 6">
            <a:extLst>
              <a:ext uri="{FF2B5EF4-FFF2-40B4-BE49-F238E27FC236}">
                <a16:creationId xmlns:a16="http://schemas.microsoft.com/office/drawing/2014/main" id="{056B7D71-D1ED-BB6D-B792-233884913AC0}"/>
              </a:ext>
            </a:extLst>
          </p:cNvPr>
          <p:cNvSpPr>
            <a:spLocks/>
          </p:cNvSpPr>
          <p:nvPr/>
        </p:nvSpPr>
        <p:spPr bwMode="gray">
          <a:xfrm>
            <a:off x="7263188" y="1997017"/>
            <a:ext cx="2006844" cy="1003421"/>
          </a:xfrm>
          <a:custGeom>
            <a:avLst/>
            <a:gdLst>
              <a:gd name="connsiteX0" fmla="*/ 901363 w 1802726"/>
              <a:gd name="connsiteY0" fmla="*/ 0 h 901362"/>
              <a:gd name="connsiteX1" fmla="*/ 1802726 w 1802726"/>
              <a:gd name="connsiteY1" fmla="*/ 901362 h 901362"/>
              <a:gd name="connsiteX2" fmla="*/ 0 w 1802726"/>
              <a:gd name="connsiteY2" fmla="*/ 901362 h 901362"/>
              <a:gd name="connsiteX3" fmla="*/ 901363 w 1802726"/>
              <a:gd name="connsiteY3" fmla="*/ 0 h 901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2726" h="901362">
                <a:moveTo>
                  <a:pt x="901363" y="0"/>
                </a:moveTo>
                <a:cubicBezTo>
                  <a:pt x="1399172" y="0"/>
                  <a:pt x="1802726" y="403554"/>
                  <a:pt x="1802726" y="901362"/>
                </a:cubicBezTo>
                <a:lnTo>
                  <a:pt x="0" y="901362"/>
                </a:lnTo>
                <a:cubicBezTo>
                  <a:pt x="0" y="403554"/>
                  <a:pt x="403554" y="0"/>
                  <a:pt x="901363" y="0"/>
                </a:cubicBezTo>
                <a:close/>
              </a:path>
            </a:pathLst>
          </a:custGeom>
          <a:solidFill>
            <a:schemeClr val="accent1"/>
          </a:solidFill>
          <a:ln w="9525" cap="rnd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117667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" name="Freihandform: Form 7">
            <a:extLst>
              <a:ext uri="{FF2B5EF4-FFF2-40B4-BE49-F238E27FC236}">
                <a16:creationId xmlns:a16="http://schemas.microsoft.com/office/drawing/2014/main" id="{A8F4DE95-9404-7884-B7D1-C603AE82BAA3}"/>
              </a:ext>
            </a:extLst>
          </p:cNvPr>
          <p:cNvSpPr>
            <a:spLocks/>
          </p:cNvSpPr>
          <p:nvPr/>
        </p:nvSpPr>
        <p:spPr bwMode="gray">
          <a:xfrm>
            <a:off x="1912942" y="2044155"/>
            <a:ext cx="1912567" cy="956282"/>
          </a:xfrm>
          <a:custGeom>
            <a:avLst/>
            <a:gdLst>
              <a:gd name="connsiteX0" fmla="*/ 859019 w 1718038"/>
              <a:gd name="connsiteY0" fmla="*/ 0 h 859018"/>
              <a:gd name="connsiteX1" fmla="*/ 1700586 w 1718038"/>
              <a:gd name="connsiteY1" fmla="*/ 685897 h 859018"/>
              <a:gd name="connsiteX2" fmla="*/ 1718038 w 1718038"/>
              <a:gd name="connsiteY2" fmla="*/ 859018 h 859018"/>
              <a:gd name="connsiteX3" fmla="*/ 0 w 1718038"/>
              <a:gd name="connsiteY3" fmla="*/ 859018 h 859018"/>
              <a:gd name="connsiteX4" fmla="*/ 17453 w 1718038"/>
              <a:gd name="connsiteY4" fmla="*/ 685897 h 859018"/>
              <a:gd name="connsiteX5" fmla="*/ 859019 w 1718038"/>
              <a:gd name="connsiteY5" fmla="*/ 0 h 85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18038" h="859018">
                <a:moveTo>
                  <a:pt x="859019" y="0"/>
                </a:moveTo>
                <a:cubicBezTo>
                  <a:pt x="1274139" y="0"/>
                  <a:pt x="1620486" y="294456"/>
                  <a:pt x="1700586" y="685897"/>
                </a:cubicBezTo>
                <a:lnTo>
                  <a:pt x="1718038" y="859018"/>
                </a:lnTo>
                <a:lnTo>
                  <a:pt x="0" y="859018"/>
                </a:lnTo>
                <a:lnTo>
                  <a:pt x="17453" y="685897"/>
                </a:lnTo>
                <a:cubicBezTo>
                  <a:pt x="97553" y="294456"/>
                  <a:pt x="443899" y="0"/>
                  <a:pt x="859019" y="0"/>
                </a:cubicBezTo>
                <a:close/>
              </a:path>
            </a:pathLst>
          </a:custGeom>
          <a:solidFill>
            <a:schemeClr val="accent1"/>
          </a:solidFill>
          <a:ln w="9525" cap="rnd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117667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" name="Freihandform: Form 8">
            <a:extLst>
              <a:ext uri="{FF2B5EF4-FFF2-40B4-BE49-F238E27FC236}">
                <a16:creationId xmlns:a16="http://schemas.microsoft.com/office/drawing/2014/main" id="{5E1BAED7-8156-EA5F-96E2-B117425CDDE8}"/>
              </a:ext>
            </a:extLst>
          </p:cNvPr>
          <p:cNvSpPr>
            <a:spLocks/>
          </p:cNvSpPr>
          <p:nvPr/>
        </p:nvSpPr>
        <p:spPr bwMode="gray">
          <a:xfrm>
            <a:off x="3563639" y="1557338"/>
            <a:ext cx="2886202" cy="1443100"/>
          </a:xfrm>
          <a:custGeom>
            <a:avLst/>
            <a:gdLst>
              <a:gd name="connsiteX0" fmla="*/ 1296322 w 2592644"/>
              <a:gd name="connsiteY0" fmla="*/ 0 h 1296321"/>
              <a:gd name="connsiteX1" fmla="*/ 2592644 w 2592644"/>
              <a:gd name="connsiteY1" fmla="*/ 1296321 h 1296321"/>
              <a:gd name="connsiteX2" fmla="*/ 0 w 2592644"/>
              <a:gd name="connsiteY2" fmla="*/ 1296321 h 1296321"/>
              <a:gd name="connsiteX3" fmla="*/ 1296322 w 2592644"/>
              <a:gd name="connsiteY3" fmla="*/ 0 h 1296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2644" h="1296321">
                <a:moveTo>
                  <a:pt x="1296322" y="0"/>
                </a:moveTo>
                <a:cubicBezTo>
                  <a:pt x="2012261" y="0"/>
                  <a:pt x="2592644" y="580383"/>
                  <a:pt x="2592644" y="1296321"/>
                </a:cubicBezTo>
                <a:lnTo>
                  <a:pt x="0" y="1296321"/>
                </a:lnTo>
                <a:cubicBezTo>
                  <a:pt x="0" y="580383"/>
                  <a:pt x="580383" y="0"/>
                  <a:pt x="1296322" y="0"/>
                </a:cubicBezTo>
                <a:close/>
              </a:path>
            </a:pathLst>
          </a:custGeom>
          <a:solidFill>
            <a:schemeClr val="bg1"/>
          </a:solidFill>
          <a:ln w="6350" cap="rnd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117667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7" name="Freihandform: Form 9">
            <a:extLst>
              <a:ext uri="{FF2B5EF4-FFF2-40B4-BE49-F238E27FC236}">
                <a16:creationId xmlns:a16="http://schemas.microsoft.com/office/drawing/2014/main" id="{39A3C73A-2A8D-D155-18C0-96F82D6171D5}"/>
              </a:ext>
            </a:extLst>
          </p:cNvPr>
          <p:cNvSpPr>
            <a:spLocks/>
          </p:cNvSpPr>
          <p:nvPr/>
        </p:nvSpPr>
        <p:spPr bwMode="gray">
          <a:xfrm>
            <a:off x="6200136" y="2279291"/>
            <a:ext cx="1442296" cy="721147"/>
          </a:xfrm>
          <a:custGeom>
            <a:avLst/>
            <a:gdLst>
              <a:gd name="connsiteX0" fmla="*/ 647799 w 1295598"/>
              <a:gd name="connsiteY0" fmla="*/ 0 h 647798"/>
              <a:gd name="connsiteX1" fmla="*/ 1282437 w 1295598"/>
              <a:gd name="connsiteY1" fmla="*/ 517245 h 647798"/>
              <a:gd name="connsiteX2" fmla="*/ 1295598 w 1295598"/>
              <a:gd name="connsiteY2" fmla="*/ 647798 h 647798"/>
              <a:gd name="connsiteX3" fmla="*/ 0 w 1295598"/>
              <a:gd name="connsiteY3" fmla="*/ 647798 h 647798"/>
              <a:gd name="connsiteX4" fmla="*/ 13161 w 1295598"/>
              <a:gd name="connsiteY4" fmla="*/ 517245 h 647798"/>
              <a:gd name="connsiteX5" fmla="*/ 647799 w 1295598"/>
              <a:gd name="connsiteY5" fmla="*/ 0 h 647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5598" h="647798">
                <a:moveTo>
                  <a:pt x="647799" y="0"/>
                </a:moveTo>
                <a:cubicBezTo>
                  <a:pt x="960848" y="0"/>
                  <a:pt x="1222033" y="222054"/>
                  <a:pt x="1282437" y="517245"/>
                </a:cubicBezTo>
                <a:lnTo>
                  <a:pt x="1295598" y="647798"/>
                </a:lnTo>
                <a:lnTo>
                  <a:pt x="0" y="647798"/>
                </a:lnTo>
                <a:lnTo>
                  <a:pt x="13161" y="517245"/>
                </a:lnTo>
                <a:cubicBezTo>
                  <a:pt x="73566" y="222054"/>
                  <a:pt x="334751" y="0"/>
                  <a:pt x="647799" y="0"/>
                </a:cubicBezTo>
                <a:close/>
              </a:path>
            </a:pathLst>
          </a:custGeom>
          <a:solidFill>
            <a:schemeClr val="bg2"/>
          </a:solidFill>
          <a:ln w="9525" cap="rnd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117667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8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0247B082-918F-D91B-71A0-286021A26F41}"/>
              </a:ext>
            </a:extLst>
          </p:cNvPr>
          <p:cNvSpPr>
            <a:spLocks/>
          </p:cNvSpPr>
          <p:nvPr/>
        </p:nvSpPr>
        <p:spPr bwMode="gray">
          <a:xfrm>
            <a:off x="9535588" y="2703658"/>
            <a:ext cx="347851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Item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FB1B6A90-B88F-DB39-E769-06FFA2C5B50C}"/>
              </a:ext>
            </a:extLst>
          </p:cNvPr>
          <p:cNvSpPr>
            <a:spLocks/>
          </p:cNvSpPr>
          <p:nvPr/>
        </p:nvSpPr>
        <p:spPr bwMode="gray">
          <a:xfrm>
            <a:off x="8017344" y="2703658"/>
            <a:ext cx="498533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</a:rPr>
              <a:t>Points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3127C0FA-14BE-D14E-4438-0658A3FB6D04}"/>
              </a:ext>
            </a:extLst>
          </p:cNvPr>
          <p:cNvSpPr>
            <a:spLocks/>
          </p:cNvSpPr>
          <p:nvPr/>
        </p:nvSpPr>
        <p:spPr bwMode="gray">
          <a:xfrm>
            <a:off x="6841134" y="2703657"/>
            <a:ext cx="160300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%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E1473259-FCA5-656A-821F-4DD536DF1AA5}"/>
              </a:ext>
            </a:extLst>
          </p:cNvPr>
          <p:cNvSpPr>
            <a:spLocks/>
          </p:cNvSpPr>
          <p:nvPr/>
        </p:nvSpPr>
        <p:spPr bwMode="gray">
          <a:xfrm>
            <a:off x="4439277" y="2703658"/>
            <a:ext cx="113492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About this row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9CF6D60C-5790-5314-F9F3-66E6D5DA0DDB}"/>
              </a:ext>
            </a:extLst>
          </p:cNvPr>
          <p:cNvSpPr>
            <a:spLocks/>
          </p:cNvSpPr>
          <p:nvPr/>
        </p:nvSpPr>
        <p:spPr bwMode="gray">
          <a:xfrm>
            <a:off x="2703444" y="2703658"/>
            <a:ext cx="33156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</a:rPr>
              <a:t>Title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D6D92C36-290E-1C21-098C-8647293FF926}"/>
              </a:ext>
            </a:extLst>
          </p:cNvPr>
          <p:cNvSpPr>
            <a:spLocks/>
          </p:cNvSpPr>
          <p:nvPr/>
        </p:nvSpPr>
        <p:spPr bwMode="gray">
          <a:xfrm>
            <a:off x="7657926" y="5438804"/>
            <a:ext cx="1200905" cy="2190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12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C08F0200-6109-52E2-8B24-4242E4811260}"/>
              </a:ext>
            </a:extLst>
          </p:cNvPr>
          <p:cNvSpPr>
            <a:spLocks/>
          </p:cNvSpPr>
          <p:nvPr/>
        </p:nvSpPr>
        <p:spPr bwMode="gray">
          <a:xfrm>
            <a:off x="407988" y="5235418"/>
            <a:ext cx="1289444" cy="6258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dolor sit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D88FF0EC-8BFE-77BC-0378-3FE2A1E964A1}"/>
              </a:ext>
            </a:extLst>
          </p:cNvPr>
          <p:cNvSpPr>
            <a:spLocks/>
          </p:cNvSpPr>
          <p:nvPr/>
        </p:nvSpPr>
        <p:spPr bwMode="gray">
          <a:xfrm>
            <a:off x="6400664" y="5360579"/>
            <a:ext cx="1022151" cy="3754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10%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73F66B8F-A53E-4D28-1521-DD490E3A94AE}"/>
              </a:ext>
            </a:extLst>
          </p:cNvPr>
          <p:cNvSpPr>
            <a:spLocks/>
          </p:cNvSpPr>
          <p:nvPr/>
        </p:nvSpPr>
        <p:spPr bwMode="gray">
          <a:xfrm>
            <a:off x="9093944" y="5438804"/>
            <a:ext cx="1217498" cy="2190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+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19666B31-758E-C701-740C-88F5D6349D2F}"/>
              </a:ext>
            </a:extLst>
          </p:cNvPr>
          <p:cNvSpPr>
            <a:spLocks/>
          </p:cNvSpPr>
          <p:nvPr/>
        </p:nvSpPr>
        <p:spPr bwMode="gray">
          <a:xfrm>
            <a:off x="7660317" y="4419650"/>
            <a:ext cx="1200905" cy="2190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45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C72A1A70-1ECC-BCD1-654F-BDE50D1B6681}"/>
              </a:ext>
            </a:extLst>
          </p:cNvPr>
          <p:cNvSpPr>
            <a:spLocks/>
          </p:cNvSpPr>
          <p:nvPr/>
        </p:nvSpPr>
        <p:spPr bwMode="gray">
          <a:xfrm>
            <a:off x="407988" y="4216264"/>
            <a:ext cx="1289444" cy="6258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dolor sit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B1D67EC6-82C8-EF67-2BCB-458F972DCC87}"/>
              </a:ext>
            </a:extLst>
          </p:cNvPr>
          <p:cNvSpPr>
            <a:spLocks/>
          </p:cNvSpPr>
          <p:nvPr/>
        </p:nvSpPr>
        <p:spPr bwMode="gray">
          <a:xfrm>
            <a:off x="6403054" y="4341425"/>
            <a:ext cx="1022151" cy="3754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40%</a:t>
            </a: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9DA4A57A-35DC-E3E2-8DA4-40FE72ECB13E}"/>
              </a:ext>
            </a:extLst>
          </p:cNvPr>
          <p:cNvSpPr>
            <a:spLocks/>
          </p:cNvSpPr>
          <p:nvPr/>
        </p:nvSpPr>
        <p:spPr bwMode="gray">
          <a:xfrm>
            <a:off x="9096333" y="4419650"/>
            <a:ext cx="1217498" cy="2190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+</a:t>
            </a: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7856B860-BC81-FDA1-E6A1-E8EC3DBF22AC}"/>
              </a:ext>
            </a:extLst>
          </p:cNvPr>
          <p:cNvSpPr>
            <a:spLocks/>
          </p:cNvSpPr>
          <p:nvPr/>
        </p:nvSpPr>
        <p:spPr bwMode="gray">
          <a:xfrm>
            <a:off x="7662707" y="3400496"/>
            <a:ext cx="1200905" cy="2190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66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3AA54D87-BE6C-E5E1-D9F3-40BBD93437B5}"/>
              </a:ext>
            </a:extLst>
          </p:cNvPr>
          <p:cNvSpPr>
            <a:spLocks/>
          </p:cNvSpPr>
          <p:nvPr/>
        </p:nvSpPr>
        <p:spPr bwMode="gray">
          <a:xfrm>
            <a:off x="407988" y="3197110"/>
            <a:ext cx="1289444" cy="6258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dolor sit</a:t>
            </a: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2C5948F2-208B-CA87-F293-0830D184B795}"/>
              </a:ext>
            </a:extLst>
          </p:cNvPr>
          <p:cNvSpPr>
            <a:spLocks/>
          </p:cNvSpPr>
          <p:nvPr/>
        </p:nvSpPr>
        <p:spPr bwMode="gray">
          <a:xfrm>
            <a:off x="6405444" y="3322271"/>
            <a:ext cx="1022151" cy="3754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50%</a:t>
            </a:r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id="{D54E2D92-FDA5-FFCF-1A1F-971A6DBB9901}"/>
              </a:ext>
            </a:extLst>
          </p:cNvPr>
          <p:cNvSpPr>
            <a:spLocks/>
          </p:cNvSpPr>
          <p:nvPr/>
        </p:nvSpPr>
        <p:spPr bwMode="gray">
          <a:xfrm>
            <a:off x="9098724" y="3400496"/>
            <a:ext cx="1217498" cy="2190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7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+</a:t>
            </a:r>
          </a:p>
        </p:txBody>
      </p:sp>
      <p:cxnSp>
        <p:nvCxnSpPr>
          <p:cNvPr id="27" name="Gerader Verbinder 33">
            <a:extLst>
              <a:ext uri="{FF2B5EF4-FFF2-40B4-BE49-F238E27FC236}">
                <a16:creationId xmlns:a16="http://schemas.microsoft.com/office/drawing/2014/main" id="{E49157CD-9D0A-5FDE-9314-61BF08A6687C}"/>
              </a:ext>
            </a:extLst>
          </p:cNvPr>
          <p:cNvCxnSpPr>
            <a:cxnSpLocks/>
          </p:cNvCxnSpPr>
          <p:nvPr/>
        </p:nvCxnSpPr>
        <p:spPr bwMode="gray">
          <a:xfrm>
            <a:off x="418603" y="3000436"/>
            <a:ext cx="11381578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2C29F17F-1BFF-6F76-CE05-F43680273EB4}"/>
              </a:ext>
            </a:extLst>
          </p:cNvPr>
          <p:cNvSpPr txBox="1">
            <a:spLocks/>
          </p:cNvSpPr>
          <p:nvPr/>
        </p:nvSpPr>
        <p:spPr>
          <a:xfrm>
            <a:off x="2126241" y="3290980"/>
            <a:ext cx="1468529" cy="4380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endParaRPr lang="en-US" sz="1400"/>
          </a:p>
        </p:txBody>
      </p:sp>
      <p:sp>
        <p:nvSpPr>
          <p:cNvPr id="29" name="Inhaltsplatzhalter 2">
            <a:extLst>
              <a:ext uri="{FF2B5EF4-FFF2-40B4-BE49-F238E27FC236}">
                <a16:creationId xmlns:a16="http://schemas.microsoft.com/office/drawing/2014/main" id="{DB138F48-E01F-E84D-5469-106FF4F05C13}"/>
              </a:ext>
            </a:extLst>
          </p:cNvPr>
          <p:cNvSpPr txBox="1">
            <a:spLocks/>
          </p:cNvSpPr>
          <p:nvPr/>
        </p:nvSpPr>
        <p:spPr>
          <a:xfrm>
            <a:off x="4265842" y="3290980"/>
            <a:ext cx="1468529" cy="4380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endParaRPr lang="en-US" sz="140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F149EC9C-7EC4-21B1-1C40-AFA1DB2AAF11}"/>
              </a:ext>
            </a:extLst>
          </p:cNvPr>
          <p:cNvSpPr txBox="1">
            <a:spLocks/>
          </p:cNvSpPr>
          <p:nvPr/>
        </p:nvSpPr>
        <p:spPr>
          <a:xfrm>
            <a:off x="2126241" y="4310134"/>
            <a:ext cx="1468529" cy="4380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endParaRPr lang="en-US" sz="1400"/>
          </a:p>
        </p:txBody>
      </p:sp>
      <p:sp>
        <p:nvSpPr>
          <p:cNvPr id="31" name="Inhaltsplatzhalter 2">
            <a:extLst>
              <a:ext uri="{FF2B5EF4-FFF2-40B4-BE49-F238E27FC236}">
                <a16:creationId xmlns:a16="http://schemas.microsoft.com/office/drawing/2014/main" id="{86BAFAF3-C83F-6602-A435-987C3226E913}"/>
              </a:ext>
            </a:extLst>
          </p:cNvPr>
          <p:cNvSpPr txBox="1">
            <a:spLocks/>
          </p:cNvSpPr>
          <p:nvPr/>
        </p:nvSpPr>
        <p:spPr>
          <a:xfrm>
            <a:off x="4265842" y="4310134"/>
            <a:ext cx="1468529" cy="4380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endParaRPr lang="en-US" sz="1400"/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EBE8A345-7232-E44A-1B88-542CF605524D}"/>
              </a:ext>
            </a:extLst>
          </p:cNvPr>
          <p:cNvSpPr txBox="1">
            <a:spLocks/>
          </p:cNvSpPr>
          <p:nvPr/>
        </p:nvSpPr>
        <p:spPr>
          <a:xfrm>
            <a:off x="2126241" y="5329288"/>
            <a:ext cx="1468529" cy="4380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endParaRPr lang="en-US" sz="1400"/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5B9CB899-FFE8-6A48-74B0-2B2F61F60F64}"/>
              </a:ext>
            </a:extLst>
          </p:cNvPr>
          <p:cNvSpPr txBox="1">
            <a:spLocks/>
          </p:cNvSpPr>
          <p:nvPr/>
        </p:nvSpPr>
        <p:spPr>
          <a:xfrm>
            <a:off x="4265842" y="5329288"/>
            <a:ext cx="1468529" cy="4380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endParaRPr lang="en-US" sz="1400"/>
          </a:p>
        </p:txBody>
      </p:sp>
      <p:cxnSp>
        <p:nvCxnSpPr>
          <p:cNvPr id="34" name="Gerader Verbinder 41">
            <a:extLst>
              <a:ext uri="{FF2B5EF4-FFF2-40B4-BE49-F238E27FC236}">
                <a16:creationId xmlns:a16="http://schemas.microsoft.com/office/drawing/2014/main" id="{C5CB3FEF-F0E0-B6F3-893A-04E735349296}"/>
              </a:ext>
            </a:extLst>
          </p:cNvPr>
          <p:cNvCxnSpPr>
            <a:cxnSpLocks/>
          </p:cNvCxnSpPr>
          <p:nvPr/>
        </p:nvCxnSpPr>
        <p:spPr bwMode="gray">
          <a:xfrm>
            <a:off x="418603" y="4019590"/>
            <a:ext cx="11381578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42">
            <a:extLst>
              <a:ext uri="{FF2B5EF4-FFF2-40B4-BE49-F238E27FC236}">
                <a16:creationId xmlns:a16="http://schemas.microsoft.com/office/drawing/2014/main" id="{5D18E1D7-08DC-0F0C-71F3-2CA139F2EE13}"/>
              </a:ext>
            </a:extLst>
          </p:cNvPr>
          <p:cNvCxnSpPr>
            <a:cxnSpLocks/>
          </p:cNvCxnSpPr>
          <p:nvPr/>
        </p:nvCxnSpPr>
        <p:spPr bwMode="gray">
          <a:xfrm>
            <a:off x="418603" y="5038744"/>
            <a:ext cx="11381578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43">
            <a:extLst>
              <a:ext uri="{FF2B5EF4-FFF2-40B4-BE49-F238E27FC236}">
                <a16:creationId xmlns:a16="http://schemas.microsoft.com/office/drawing/2014/main" id="{0E83E0DD-F446-0876-87D7-D6EA11572933}"/>
              </a:ext>
            </a:extLst>
          </p:cNvPr>
          <p:cNvCxnSpPr>
            <a:cxnSpLocks/>
          </p:cNvCxnSpPr>
          <p:nvPr/>
        </p:nvCxnSpPr>
        <p:spPr bwMode="gray">
          <a:xfrm>
            <a:off x="418603" y="6057899"/>
            <a:ext cx="11381578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80DABB18-0903-05E5-018F-4434BF6E97D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7367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ables, percent, percentage</a:t>
            </a:r>
          </a:p>
        </p:txBody>
      </p:sp>
    </p:spTree>
    <p:extLst>
      <p:ext uri="{BB962C8B-B14F-4D97-AF65-F5344CB8AC3E}">
        <p14:creationId xmlns:p14="http://schemas.microsoft.com/office/powerpoint/2010/main" val="3252574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